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33"/>
  </p:notesMasterIdLst>
  <p:handoutMasterIdLst>
    <p:handoutMasterId r:id="rId34"/>
  </p:handoutMasterIdLst>
  <p:sldIdLst>
    <p:sldId id="321" r:id="rId4"/>
    <p:sldId id="330" r:id="rId5"/>
    <p:sldId id="331" r:id="rId6"/>
    <p:sldId id="332" r:id="rId7"/>
    <p:sldId id="350" r:id="rId8"/>
    <p:sldId id="333" r:id="rId9"/>
    <p:sldId id="345" r:id="rId10"/>
    <p:sldId id="334" r:id="rId11"/>
    <p:sldId id="335" r:id="rId12"/>
    <p:sldId id="348" r:id="rId13"/>
    <p:sldId id="336" r:id="rId14"/>
    <p:sldId id="337" r:id="rId15"/>
    <p:sldId id="349" r:id="rId16"/>
    <p:sldId id="338" r:id="rId17"/>
    <p:sldId id="355" r:id="rId18"/>
    <p:sldId id="339" r:id="rId19"/>
    <p:sldId id="263" r:id="rId20"/>
    <p:sldId id="347" r:id="rId21"/>
    <p:sldId id="346" r:id="rId22"/>
    <p:sldId id="340" r:id="rId23"/>
    <p:sldId id="352" r:id="rId24"/>
    <p:sldId id="351" r:id="rId25"/>
    <p:sldId id="341" r:id="rId26"/>
    <p:sldId id="342" r:id="rId27"/>
    <p:sldId id="267" r:id="rId28"/>
    <p:sldId id="354" r:id="rId29"/>
    <p:sldId id="343" r:id="rId30"/>
    <p:sldId id="353" r:id="rId31"/>
    <p:sldId id="344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331"/>
            <p14:sldId id="332"/>
            <p14:sldId id="350"/>
            <p14:sldId id="333"/>
            <p14:sldId id="345"/>
            <p14:sldId id="334"/>
            <p14:sldId id="335"/>
            <p14:sldId id="348"/>
            <p14:sldId id="336"/>
            <p14:sldId id="337"/>
            <p14:sldId id="349"/>
            <p14:sldId id="338"/>
            <p14:sldId id="355"/>
            <p14:sldId id="339"/>
            <p14:sldId id="263"/>
            <p14:sldId id="347"/>
            <p14:sldId id="346"/>
            <p14:sldId id="340"/>
            <p14:sldId id="352"/>
            <p14:sldId id="351"/>
            <p14:sldId id="341"/>
            <p14:sldId id="342"/>
            <p14:sldId id="267"/>
            <p14:sldId id="354"/>
            <p14:sldId id="343"/>
            <p14:sldId id="353"/>
            <p14:sldId id="344"/>
          </p14:sldIdLst>
        </p14:section>
        <p14:section name="How-to guides" id="{940A1398-85E1-49ED-8D6E-5B86E8378269}">
          <p14:sldIdLst/>
        </p14:section>
        <p14:section name="Style guide" id="{469652BB-A032-4484-908B-5AD5FE899E0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1669" autoAdjust="0"/>
  </p:normalViewPr>
  <p:slideViewPr>
    <p:cSldViewPr snapToGrid="0" snapToObjects="1" showGuides="1">
      <p:cViewPr varScale="1">
        <p:scale>
          <a:sx n="69" d="100"/>
          <a:sy n="69" d="100"/>
        </p:scale>
        <p:origin x="1234" y="110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ags" Target="tags/tag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3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08T06:33:55.635"/>
    </inkml:context>
    <inkml:brush xml:id="br0">
      <inkml:brushProperty name="width" value="0.035" units="cm"/>
      <inkml:brushProperty name="height" value="0.035" units="cm"/>
      <inkml:brushProperty name="ignorePressure" value="1"/>
    </inkml:brush>
  </inkml:definitions>
  <inkml:trace contextRef="#ctx0" brushRef="#br0">1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3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File/Folder which recent action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r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y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entObjects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(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THEN 'Folder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THEN 'File'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'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know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Own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Own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Own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Own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Folder f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old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 O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)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'Fi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UserFile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'Fol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older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NULL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entObjects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o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Folder f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old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File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 O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Folder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;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 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 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 FROM Folder 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3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31904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File/Folder. Which have been shared to Login User</a:t>
            </a:r>
          </a:p>
          <a:p>
            <a:r>
              <a:rPr lang="en-US" dirty="0"/>
              <a:t>Sort by </a:t>
            </a:r>
            <a:r>
              <a:rPr lang="en-US" dirty="0" err="1"/>
              <a:t>FileType</a:t>
            </a:r>
            <a:endParaRPr lang="en-US" dirty="0"/>
          </a:p>
          <a:p>
            <a:r>
              <a:rPr lang="en-US" dirty="0"/>
              <a:t>Sort by Owner</a:t>
            </a:r>
          </a:p>
          <a:p>
            <a:r>
              <a:rPr lang="en-US" dirty="0"/>
              <a:t>Sort by Action Recent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29377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file/folder were deleted by login user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541047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Select </a:t>
            </a:r>
            <a:r>
              <a:rPr lang="en-US" dirty="0" err="1"/>
              <a:t>GoogleDrive’s</a:t>
            </a:r>
            <a:r>
              <a:rPr lang="en-US" dirty="0"/>
              <a:t> Products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Select Product of login User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357349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5719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oginUser INT = 1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oginUser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10470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OMMEN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3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 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OMMEN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61705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lect User Information</a:t>
            </a:r>
          </a:p>
          <a:p>
            <a:endParaRPr lang="en-US" dirty="0"/>
          </a:p>
          <a:p>
            <a:r>
              <a:rPr lang="en-US" dirty="0"/>
              <a:t>Declare @userId int = 1</a:t>
            </a:r>
          </a:p>
          <a:p>
            <a:r>
              <a:rPr lang="en-US" dirty="0"/>
              <a:t> select </a:t>
            </a:r>
          </a:p>
          <a:p>
            <a:r>
              <a:rPr lang="en-US" dirty="0"/>
              <a:t>	</a:t>
            </a:r>
            <a:r>
              <a:rPr lang="en-US" dirty="0" err="1"/>
              <a:t>a.UserName</a:t>
            </a:r>
            <a:r>
              <a:rPr lang="en-US" dirty="0"/>
              <a:t> as </a:t>
            </a:r>
            <a:r>
              <a:rPr lang="en-US" dirty="0" err="1"/>
              <a:t>UserName</a:t>
            </a:r>
            <a:r>
              <a:rPr lang="en-US" dirty="0"/>
              <a:t>,</a:t>
            </a:r>
          </a:p>
          <a:p>
            <a:r>
              <a:rPr lang="en-US" dirty="0"/>
              <a:t>	</a:t>
            </a:r>
            <a:r>
              <a:rPr lang="en-US" dirty="0" err="1"/>
              <a:t>a.Email</a:t>
            </a:r>
            <a:r>
              <a:rPr lang="en-US" dirty="0"/>
              <a:t> as Email</a:t>
            </a:r>
          </a:p>
          <a:p>
            <a:r>
              <a:rPr lang="en-US" dirty="0"/>
              <a:t> from Account a</a:t>
            </a:r>
          </a:p>
          <a:p>
            <a:r>
              <a:rPr lang="en-US" dirty="0"/>
              <a:t> where </a:t>
            </a:r>
            <a:r>
              <a:rPr lang="en-US" dirty="0" err="1"/>
              <a:t>a.UserId</a:t>
            </a:r>
            <a:r>
              <a:rPr lang="en-US" dirty="0"/>
              <a:t> =@userId 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8845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lect Login User Setting </a:t>
            </a:r>
          </a:p>
          <a:p>
            <a:endParaRPr lang="en-US" dirty="0"/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;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etting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Key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Valu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ting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etting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926660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stared file/folder of login user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9853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1_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49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3108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6" imgH="306" progId="TCLayout.ActiveDocument.1">
                  <p:embed/>
                </p:oleObj>
              </mc:Choice>
              <mc:Fallback>
                <p:oleObj name="think-cell Slide" r:id="rId30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  <p:sldLayoutId id="2147483711" r:id="rId27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png"/><Relationship Id="rId4" Type="http://schemas.openxmlformats.org/officeDocument/2006/relationships/customXml" Target="../ink/ink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A9D0B39-E801-E8BE-985E-11E120E35DD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FD5C40-4AD8-C593-F9B8-953B2D98F8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82A036-BDD0-53E6-E9C7-3A5C289C0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141128711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3CFC91-9DE0-2252-A67C-5907CC7B3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Sample Data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6CC2CF-E30F-ED2F-A04C-0E97BE386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9152" y="903248"/>
            <a:ext cx="8573696" cy="5792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13365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EF7AE5-B2E0-8F0C-0F54-54ED52C3D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avoriteObjec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882475-5F2B-98B7-DBC8-5E58D6464A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077" y="831892"/>
            <a:ext cx="10843846" cy="5194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899616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337B39-8BF4-DAA4-B5C3-8DAB9D3CF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r>
              <a:rPr lang="en-US" dirty="0" err="1"/>
              <a:t>FavoriteObject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6D1F22-8AD6-6F12-FBB6-71D084EC7C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536" y="1371576"/>
            <a:ext cx="8462927" cy="4114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8842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E0F8ADB-540E-D5F5-24A7-7DDAF10B3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ction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622598-B8B4-55AD-7AD5-5AE3D354F5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0000" y="1098000"/>
            <a:ext cx="10151999" cy="5007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880101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7B5CF3-1218-505F-5466-E99209ABC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r>
              <a:rPr lang="en-US" dirty="0" err="1"/>
              <a:t>ActionRecent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B2B7ED-0732-D7D5-8C63-33E23FE40B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2824" y="2052333"/>
            <a:ext cx="9186351" cy="275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935910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8A7767-AAE9-1A93-E592-493B51745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 for login user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61CDC5-D12B-4F11-E8E7-4986A488F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923" y="904569"/>
            <a:ext cx="10018154" cy="550774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C8A563E-6DA3-4E25-2D3A-577A05E9EBD6}"/>
              </a:ext>
            </a:extLst>
          </p:cNvPr>
          <p:cNvSpPr/>
          <p:nvPr/>
        </p:nvSpPr>
        <p:spPr>
          <a:xfrm>
            <a:off x="4724400" y="2136530"/>
            <a:ext cx="2368062" cy="345831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</a:t>
            </a:r>
            <a:r>
              <a:rPr lang="en-US" dirty="0" err="1">
                <a:solidFill>
                  <a:schemeClr val="bg1"/>
                </a:solidFill>
              </a:rPr>
              <a:t>ActionRecent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1EF22B-5F08-12F7-A06F-9750961DE344}"/>
              </a:ext>
            </a:extLst>
          </p:cNvPr>
          <p:cNvSpPr/>
          <p:nvPr/>
        </p:nvSpPr>
        <p:spPr>
          <a:xfrm>
            <a:off x="5099537" y="1211261"/>
            <a:ext cx="1664677" cy="345831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Own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AE48F2-EFED-B109-134E-7E9AB3C56014}"/>
              </a:ext>
            </a:extLst>
          </p:cNvPr>
          <p:cNvSpPr/>
          <p:nvPr/>
        </p:nvSpPr>
        <p:spPr>
          <a:xfrm>
            <a:off x="4107968" y="459092"/>
            <a:ext cx="1988031" cy="293077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Filetyp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83AB5A6-3A08-E7CD-4A0A-36991A8259FD}"/>
              </a:ext>
            </a:extLst>
          </p:cNvPr>
          <p:cNvCxnSpPr/>
          <p:nvPr/>
        </p:nvCxnSpPr>
        <p:spPr>
          <a:xfrm flipH="1">
            <a:off x="2930769" y="752169"/>
            <a:ext cx="1652954" cy="80492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3487CB4-187A-86E3-0B68-709A6DC07B66}"/>
              </a:ext>
            </a:extLst>
          </p:cNvPr>
          <p:cNvCxnSpPr/>
          <p:nvPr/>
        </p:nvCxnSpPr>
        <p:spPr>
          <a:xfrm flipH="1">
            <a:off x="3470031" y="1211261"/>
            <a:ext cx="1629506" cy="4416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65A5C93-65CC-5EAA-8247-12CE91C63CEF}"/>
              </a:ext>
            </a:extLst>
          </p:cNvPr>
          <p:cNvCxnSpPr/>
          <p:nvPr/>
        </p:nvCxnSpPr>
        <p:spPr>
          <a:xfrm flipH="1" flipV="1">
            <a:off x="4384431" y="1899138"/>
            <a:ext cx="339969" cy="41030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425884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BFDC76-B99A-5F71-E2CA-BD5552A4E5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1069" y="916683"/>
            <a:ext cx="9903388" cy="58075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06A0F14-3BFB-6931-CB78-28D32791B072}"/>
              </a:ext>
            </a:extLst>
          </p:cNvPr>
          <p:cNvSpPr/>
          <p:nvPr/>
        </p:nvSpPr>
        <p:spPr>
          <a:xfrm>
            <a:off x="8106937" y="2430966"/>
            <a:ext cx="836341" cy="41259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hare 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95BBAF-2388-5B54-BFCB-7F5CBB7BCBC6}"/>
              </a:ext>
            </a:extLst>
          </p:cNvPr>
          <p:cNvSpPr/>
          <p:nvPr/>
        </p:nvSpPr>
        <p:spPr>
          <a:xfrm>
            <a:off x="8028879" y="4014439"/>
            <a:ext cx="1349298" cy="41259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Permission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A3A0278-3DC7-4C9A-8AC5-1D0B0CFE0CFF}"/>
              </a:ext>
            </a:extLst>
          </p:cNvPr>
          <p:cNvCxnSpPr>
            <a:stCxn id="5" idx="1"/>
          </p:cNvCxnSpPr>
          <p:nvPr/>
        </p:nvCxnSpPr>
        <p:spPr>
          <a:xfrm flipH="1">
            <a:off x="7304049" y="4220737"/>
            <a:ext cx="724830" cy="158904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2362333-DAC4-EC58-6F9F-B764BF4EB66C}"/>
              </a:ext>
            </a:extLst>
          </p:cNvPr>
          <p:cNvCxnSpPr/>
          <p:nvPr/>
        </p:nvCxnSpPr>
        <p:spPr>
          <a:xfrm flipH="1">
            <a:off x="5965902" y="2732049"/>
            <a:ext cx="2141035" cy="61331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AFA07ED-5FAA-11D3-12EC-17E8CD2E7938}"/>
              </a:ext>
            </a:extLst>
          </p:cNvPr>
          <p:cNvSpPr>
            <a:spLocks noGrp="1"/>
          </p:cNvSpPr>
          <p:nvPr>
            <p:ph type="pic" idx="2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250EBF-0157-430F-9E76-785B7A05F9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A9B798A-05A9-35BC-C734-6894F1F26C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3973220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1097A2-34BA-4D2D-7C6E-1438E4C96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Sha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9D0DCE-F2F2-3638-7EDA-4AF1832D5C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2888" y="932034"/>
            <a:ext cx="9126224" cy="5306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1783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en-CH" dirty="0"/>
              <a:t>Da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D569F5-F752-78D2-7DEA-647D756EF5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sh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B80471-BF24-9F80-8C2E-65EB1150A2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954" y="906374"/>
            <a:ext cx="10410091" cy="5517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AB9DD77-5621-D63C-A2EA-7A9606972D82}"/>
              </a:ext>
            </a:extLst>
          </p:cNvPr>
          <p:cNvSpPr/>
          <p:nvPr/>
        </p:nvSpPr>
        <p:spPr>
          <a:xfrm>
            <a:off x="6963508" y="226436"/>
            <a:ext cx="3493478" cy="750277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lect file/folder were deleted by login us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A91F52B-1CA3-0377-477A-32A7B398E3B6}"/>
              </a:ext>
            </a:extLst>
          </p:cNvPr>
          <p:cNvCxnSpPr/>
          <p:nvPr/>
        </p:nvCxnSpPr>
        <p:spPr>
          <a:xfrm flipH="1">
            <a:off x="6670431" y="976713"/>
            <a:ext cx="1664677" cy="177821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2828397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4FB3EC8-F896-985F-2621-A116A249B9F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F7E342-DC7A-2518-E59D-8F23FC54FC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FCB56E2-CF3A-3EC2-9556-571C06AFF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119022136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A8DD7E-EBBA-249F-C361-4A450B2BB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Trash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24413E-6733-CCD3-277E-531FFA4499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561" y="2001643"/>
            <a:ext cx="8712878" cy="2854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60143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6E50C7-1161-3FE9-1286-E09BD3F03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Capacity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03B50E-18B4-ACB4-60AE-5014CEA352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000" y="1008186"/>
            <a:ext cx="9720000" cy="550057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F0F04B-3C17-AB5C-220F-7835489917C2}"/>
              </a:ext>
            </a:extLst>
          </p:cNvPr>
          <p:cNvSpPr/>
          <p:nvPr/>
        </p:nvSpPr>
        <p:spPr>
          <a:xfrm>
            <a:off x="5099539" y="211015"/>
            <a:ext cx="2872154" cy="527539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Select login User capacity and </a:t>
            </a:r>
            <a:r>
              <a:rPr lang="en-US" dirty="0" err="1"/>
              <a:t>UsedCapacity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583529E-B3CF-858C-E6E4-E42401DDD9AE}"/>
              </a:ext>
            </a:extLst>
          </p:cNvPr>
          <p:cNvCxnSpPr/>
          <p:nvPr/>
        </p:nvCxnSpPr>
        <p:spPr>
          <a:xfrm flipH="1">
            <a:off x="3903785" y="738554"/>
            <a:ext cx="1992923" cy="138332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ame 9">
            <a:extLst>
              <a:ext uri="{FF2B5EF4-FFF2-40B4-BE49-F238E27FC236}">
                <a16:creationId xmlns:a16="http://schemas.microsoft.com/office/drawing/2014/main" id="{1EE8E7C4-ED16-3993-9424-2E3E87B804FB}"/>
              </a:ext>
            </a:extLst>
          </p:cNvPr>
          <p:cNvSpPr/>
          <p:nvPr/>
        </p:nvSpPr>
        <p:spPr>
          <a:xfrm>
            <a:off x="2631688" y="3133493"/>
            <a:ext cx="8324312" cy="568712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48C124-B2BB-10A9-AFA1-CEE8986820D1}"/>
              </a:ext>
            </a:extLst>
          </p:cNvPr>
          <p:cNvSpPr/>
          <p:nvPr/>
        </p:nvSpPr>
        <p:spPr>
          <a:xfrm>
            <a:off x="7683190" y="1628078"/>
            <a:ext cx="2096430" cy="47810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F18AC4D-E79E-0F13-3A7D-D48DFB7F21B5}"/>
              </a:ext>
            </a:extLst>
          </p:cNvPr>
          <p:cNvCxnSpPr/>
          <p:nvPr/>
        </p:nvCxnSpPr>
        <p:spPr>
          <a:xfrm flipH="1">
            <a:off x="7817005" y="2121877"/>
            <a:ext cx="579863" cy="91125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865374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4EFB4F-60D6-1105-F0B3-82C38B4E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serProduct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4FF209-A2E8-A3D6-D643-B938C6FDB8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9741" y="975580"/>
            <a:ext cx="8950825" cy="562051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277DA68-BF8B-BBC6-5694-8E2057F818A1}"/>
              </a:ext>
            </a:extLst>
          </p:cNvPr>
          <p:cNvSpPr/>
          <p:nvPr/>
        </p:nvSpPr>
        <p:spPr>
          <a:xfrm>
            <a:off x="2353817" y="1671973"/>
            <a:ext cx="7662672" cy="492412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0B2C51-D745-2658-ED99-7843062B9B0C}"/>
              </a:ext>
            </a:extLst>
          </p:cNvPr>
          <p:cNvSpPr/>
          <p:nvPr/>
        </p:nvSpPr>
        <p:spPr>
          <a:xfrm>
            <a:off x="4142232" y="1098000"/>
            <a:ext cx="4169664" cy="5739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51A0C8-C7DA-6EAF-7AD3-4C430ACA181C}"/>
              </a:ext>
            </a:extLst>
          </p:cNvPr>
          <p:cNvSpPr txBox="1"/>
          <p:nvPr/>
        </p:nvSpPr>
        <p:spPr>
          <a:xfrm>
            <a:off x="1191232" y="975580"/>
            <a:ext cx="2492814" cy="369332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duct Item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4E6DD8-D912-F347-CE3B-D4FA0C629B73}"/>
              </a:ext>
            </a:extLst>
          </p:cNvPr>
          <p:cNvSpPr txBox="1"/>
          <p:nvPr/>
        </p:nvSpPr>
        <p:spPr>
          <a:xfrm>
            <a:off x="54894" y="1659778"/>
            <a:ext cx="2346393" cy="646331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</a:t>
            </a:r>
            <a:r>
              <a:rPr lang="en-US" dirty="0" err="1"/>
              <a:t>GoogleDrive’s</a:t>
            </a:r>
            <a:r>
              <a:rPr lang="en-US" dirty="0"/>
              <a:t> Produc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975EEC-BA86-711F-E41E-8B9532ABB7DC}"/>
              </a:ext>
            </a:extLst>
          </p:cNvPr>
          <p:cNvSpPr txBox="1"/>
          <p:nvPr/>
        </p:nvSpPr>
        <p:spPr>
          <a:xfrm>
            <a:off x="8654796" y="1158169"/>
            <a:ext cx="3028078" cy="369332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Product of login Us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E1BED0-13C0-9D22-DA08-624701A228EA}"/>
              </a:ext>
            </a:extLst>
          </p:cNvPr>
          <p:cNvSpPr txBox="1"/>
          <p:nvPr/>
        </p:nvSpPr>
        <p:spPr>
          <a:xfrm>
            <a:off x="409575" y="3858849"/>
            <a:ext cx="666750" cy="307777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16FFF6-3682-FE93-D5D6-4591F579FAE7}"/>
              </a:ext>
            </a:extLst>
          </p:cNvPr>
          <p:cNvSpPr txBox="1"/>
          <p:nvPr/>
        </p:nvSpPr>
        <p:spPr>
          <a:xfrm>
            <a:off x="245618" y="2999151"/>
            <a:ext cx="1341643" cy="369332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motion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923B661-750B-58A8-D82C-45F55DDF7CD6}"/>
              </a:ext>
            </a:extLst>
          </p:cNvPr>
          <p:cNvCxnSpPr/>
          <p:nvPr/>
        </p:nvCxnSpPr>
        <p:spPr>
          <a:xfrm>
            <a:off x="1709741" y="3267307"/>
            <a:ext cx="1501810" cy="1616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FB10354-B828-F178-2897-084C9B3D6F54}"/>
              </a:ext>
            </a:extLst>
          </p:cNvPr>
          <p:cNvCxnSpPr/>
          <p:nvPr/>
        </p:nvCxnSpPr>
        <p:spPr>
          <a:xfrm>
            <a:off x="1191232" y="4012737"/>
            <a:ext cx="1853051" cy="32508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0BAF5F5-69D7-B705-57F8-ED25E61A3F56}"/>
              </a:ext>
            </a:extLst>
          </p:cNvPr>
          <p:cNvCxnSpPr/>
          <p:nvPr/>
        </p:nvCxnSpPr>
        <p:spPr>
          <a:xfrm>
            <a:off x="1416205" y="2306109"/>
            <a:ext cx="937612" cy="69304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1FE7A7A-2395-DB12-6232-AE2DCFD22E10}"/>
              </a:ext>
            </a:extLst>
          </p:cNvPr>
          <p:cNvCxnSpPr/>
          <p:nvPr/>
        </p:nvCxnSpPr>
        <p:spPr>
          <a:xfrm>
            <a:off x="2732049" y="1384986"/>
            <a:ext cx="780585" cy="142512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1047682-C7B7-C82D-4F49-966EB092DEEB}"/>
              </a:ext>
            </a:extLst>
          </p:cNvPr>
          <p:cNvCxnSpPr/>
          <p:nvPr/>
        </p:nvCxnSpPr>
        <p:spPr>
          <a:xfrm flipH="1">
            <a:off x="7025268" y="1465946"/>
            <a:ext cx="2330605" cy="63160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36A2D5B-4CD6-276D-2568-EA320AD277F3}"/>
              </a:ext>
            </a:extLst>
          </p:cNvPr>
          <p:cNvSpPr/>
          <p:nvPr/>
        </p:nvSpPr>
        <p:spPr>
          <a:xfrm>
            <a:off x="4404732" y="323385"/>
            <a:ext cx="2364058" cy="50180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Duration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2068F64-1ECC-E23B-93A5-F19BBE113A19}"/>
              </a:ext>
            </a:extLst>
          </p:cNvPr>
          <p:cNvCxnSpPr/>
          <p:nvPr/>
        </p:nvCxnSpPr>
        <p:spPr>
          <a:xfrm>
            <a:off x="5843239" y="825190"/>
            <a:ext cx="252761" cy="332979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509343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6f56cd1dea_1_4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Product Feature</a:t>
            </a:r>
            <a:endParaRPr/>
          </a:p>
        </p:txBody>
      </p:sp>
      <p:pic>
        <p:nvPicPr>
          <p:cNvPr id="290" name="Google Shape;290;g36f56cd1dea_1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60560"/>
            <a:ext cx="11887199" cy="463630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5ED0F5-7832-524E-6CB6-5D460DC17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Produc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859E4-949D-60FC-62F6-813892C136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5318" y="1243583"/>
            <a:ext cx="8961364" cy="437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524914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9066C1-00EE-6081-87E5-02C276E44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nned</a:t>
            </a:r>
            <a:endParaRPr lang="vi-V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8F3EAC-D68F-505D-586E-F82236B732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3756" y="947853"/>
            <a:ext cx="8424487" cy="578258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E8A146-5090-FB62-ABEC-900CD8082E90}"/>
              </a:ext>
            </a:extLst>
          </p:cNvPr>
          <p:cNvSpPr txBox="1"/>
          <p:nvPr/>
        </p:nvSpPr>
        <p:spPr>
          <a:xfrm>
            <a:off x="2542924" y="686243"/>
            <a:ext cx="2675847" cy="646331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User have been Banned by login us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2162C56-7C2F-E41A-CFF7-2F0636E10244}"/>
              </a:ext>
            </a:extLst>
          </p:cNvPr>
          <p:cNvCxnSpPr/>
          <p:nvPr/>
        </p:nvCxnSpPr>
        <p:spPr>
          <a:xfrm>
            <a:off x="4137102" y="1332574"/>
            <a:ext cx="1081669" cy="425418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988255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8528F571-B480-20CE-813E-AE0B5407513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7943BE-5239-06ED-44F1-F245A4D982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DE002E-08D9-AEEF-6C96-22BF9DE9A1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301925142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3E887E9-70C3-2C1B-C969-ABFB059B6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Banned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98DB78-18BC-F107-0C53-8A7DCF7A0B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263" y="1666628"/>
            <a:ext cx="8795473" cy="3607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960597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343608"/>
            <a:ext cx="5232000" cy="5082392"/>
          </a:xfrm>
        </p:spPr>
        <p:txBody>
          <a:bodyPr/>
          <a:lstStyle/>
          <a:p>
            <a:pPr lvl="0" indent="-676275">
              <a:spcBef>
                <a:spcPts val="0"/>
              </a:spcBef>
              <a:buSzPts val="3140"/>
              <a:buFont typeface="Arial"/>
              <a:buAutoNum type="arabicPeriod"/>
            </a:pPr>
            <a:r>
              <a:rPr lang="en-US" dirty="0"/>
              <a:t>Google Drive functions and database design as follow</a:t>
            </a:r>
          </a:p>
          <a:p>
            <a:pPr lvl="1"/>
            <a:endParaRPr lang="en-GB" dirty="0"/>
          </a:p>
          <a:p>
            <a:pPr lvl="0" indent="-676275">
              <a:buSzPts val="3140"/>
              <a:buFont typeface="Arial"/>
              <a:buAutoNum type="arabicPeriod"/>
            </a:pPr>
            <a:r>
              <a:rPr lang="en-GB" dirty="0" err="1"/>
              <a:t>Fulltext</a:t>
            </a:r>
            <a:r>
              <a:rPr lang="en-GB" dirty="0"/>
              <a:t> Search with BM25</a:t>
            </a:r>
          </a:p>
          <a:p>
            <a:pPr lvl="0" indent="-676275">
              <a:buSzPts val="3140"/>
              <a:buFont typeface="Arial"/>
              <a:buAutoNum type="arabicPeriod"/>
            </a:pPr>
            <a:endParaRPr lang="en-GB" dirty="0"/>
          </a:p>
          <a:p>
            <a:pPr lvl="0" indent="-676275">
              <a:buSzPts val="3140"/>
              <a:buFont typeface="Arial"/>
              <a:buAutoNum type="arabicPeriod"/>
            </a:pPr>
            <a:r>
              <a:rPr lang="en-GB" dirty="0"/>
              <a:t>Q&amp;A</a:t>
            </a:r>
          </a:p>
          <a:p>
            <a:pPr lvl="1"/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109439-6887-98AE-3704-BA025A100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726" y="-170777"/>
            <a:ext cx="9720000" cy="1098000"/>
          </a:xfrm>
        </p:spPr>
        <p:txBody>
          <a:bodyPr/>
          <a:lstStyle/>
          <a:p>
            <a:r>
              <a:rPr lang="en-US" dirty="0"/>
              <a:t>First Screen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DA1F64-B69F-31BD-F59C-9B9C722201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7848" y="789756"/>
            <a:ext cx="10394302" cy="527848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06E0C25-9458-5634-9BD6-8644852FE260}"/>
              </a:ext>
            </a:extLst>
          </p:cNvPr>
          <p:cNvSpPr/>
          <p:nvPr/>
        </p:nvSpPr>
        <p:spPr>
          <a:xfrm>
            <a:off x="1105158" y="5859142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FileTyp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45CC15-7EA6-FFD1-B04C-6365D8A4BD79}"/>
              </a:ext>
            </a:extLst>
          </p:cNvPr>
          <p:cNvSpPr/>
          <p:nvPr/>
        </p:nvSpPr>
        <p:spPr>
          <a:xfrm>
            <a:off x="8112280" y="207446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etting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C4F266-5894-CE98-FEEC-AE21BCDD1C8C}"/>
              </a:ext>
            </a:extLst>
          </p:cNvPr>
          <p:cNvSpPr/>
          <p:nvPr/>
        </p:nvSpPr>
        <p:spPr>
          <a:xfrm>
            <a:off x="3444270" y="2862808"/>
            <a:ext cx="141373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ObjectTyp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3A823E-3500-CBD7-1673-F49C1647A979}"/>
              </a:ext>
            </a:extLst>
          </p:cNvPr>
          <p:cNvSpPr/>
          <p:nvPr/>
        </p:nvSpPr>
        <p:spPr>
          <a:xfrm>
            <a:off x="2896555" y="1641185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Fold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7AEE36-AF37-CA01-6E7F-6A3DA26A95DC}"/>
              </a:ext>
            </a:extLst>
          </p:cNvPr>
          <p:cNvSpPr/>
          <p:nvPr/>
        </p:nvSpPr>
        <p:spPr>
          <a:xfrm>
            <a:off x="2373085" y="1018390"/>
            <a:ext cx="1726967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ActionRecent</a:t>
            </a:r>
            <a:r>
              <a:rPr lang="en-US" dirty="0">
                <a:solidFill>
                  <a:schemeClr val="bg1"/>
                </a:solidFill>
              </a:rPr>
              <a:t> 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2B503D4-7A6F-6362-0BF1-E81D1ACC1FBF}"/>
              </a:ext>
            </a:extLst>
          </p:cNvPr>
          <p:cNvSpPr/>
          <p:nvPr/>
        </p:nvSpPr>
        <p:spPr>
          <a:xfrm>
            <a:off x="3225865" y="5897467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UserFil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FF7840-A688-944C-1128-51D7A77EAD57}"/>
              </a:ext>
            </a:extLst>
          </p:cNvPr>
          <p:cNvSpPr/>
          <p:nvPr/>
        </p:nvSpPr>
        <p:spPr>
          <a:xfrm>
            <a:off x="9394522" y="1204132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Account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635A361-15B2-F61C-6C6E-BD09340B37AD}"/>
              </a:ext>
            </a:extLst>
          </p:cNvPr>
          <p:cNvCxnSpPr/>
          <p:nvPr/>
        </p:nvCxnSpPr>
        <p:spPr>
          <a:xfrm flipV="1">
            <a:off x="1892469" y="5067985"/>
            <a:ext cx="534620" cy="77723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F0F02C1-FF60-F0CE-90F4-46827AEBBCC7}"/>
              </a:ext>
            </a:extLst>
          </p:cNvPr>
          <p:cNvCxnSpPr/>
          <p:nvPr/>
        </p:nvCxnSpPr>
        <p:spPr>
          <a:xfrm flipV="1">
            <a:off x="10489951" y="1018390"/>
            <a:ext cx="512346" cy="3565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FFB96D4-D52C-A654-FBD8-6E820853D4FE}"/>
              </a:ext>
            </a:extLst>
          </p:cNvPr>
          <p:cNvCxnSpPr/>
          <p:nvPr/>
        </p:nvCxnSpPr>
        <p:spPr>
          <a:xfrm>
            <a:off x="3618271" y="1982738"/>
            <a:ext cx="806245" cy="39666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EDEB7E7-77CA-3F59-EADB-F648B35D1BE8}"/>
              </a:ext>
            </a:extLst>
          </p:cNvPr>
          <p:cNvCxnSpPr/>
          <p:nvPr/>
        </p:nvCxnSpPr>
        <p:spPr>
          <a:xfrm flipV="1">
            <a:off x="3618271" y="4519694"/>
            <a:ext cx="481781" cy="137777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EC7E8BD-E7D7-C867-DED2-7AA24D704229}"/>
              </a:ext>
            </a:extLst>
          </p:cNvPr>
          <p:cNvCxnSpPr/>
          <p:nvPr/>
        </p:nvCxnSpPr>
        <p:spPr>
          <a:xfrm flipV="1">
            <a:off x="4858009" y="2753032"/>
            <a:ext cx="1002017" cy="18681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C10F4A5-8C8A-2B06-4930-0D776598AF39}"/>
              </a:ext>
            </a:extLst>
          </p:cNvPr>
          <p:cNvCxnSpPr/>
          <p:nvPr/>
        </p:nvCxnSpPr>
        <p:spPr>
          <a:xfrm>
            <a:off x="4858009" y="3126658"/>
            <a:ext cx="312717" cy="58010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D4CF437-2877-15A2-5896-8EE57B97DA2D}"/>
              </a:ext>
            </a:extLst>
          </p:cNvPr>
          <p:cNvCxnSpPr/>
          <p:nvPr/>
        </p:nvCxnSpPr>
        <p:spPr>
          <a:xfrm>
            <a:off x="9285299" y="533760"/>
            <a:ext cx="1204652" cy="30824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A29ABC6-DFA8-D6A9-CBF8-63556C48A8EF}"/>
              </a:ext>
            </a:extLst>
          </p:cNvPr>
          <p:cNvCxnSpPr/>
          <p:nvPr/>
        </p:nvCxnSpPr>
        <p:spPr>
          <a:xfrm flipH="1">
            <a:off x="1553497" y="1374908"/>
            <a:ext cx="914400" cy="107332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490F921E-8CB4-B838-C6ED-703681D5AD34}"/>
              </a:ext>
            </a:extLst>
          </p:cNvPr>
          <p:cNvSpPr/>
          <p:nvPr/>
        </p:nvSpPr>
        <p:spPr>
          <a:xfrm>
            <a:off x="57074" y="4045690"/>
            <a:ext cx="1876203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vi-VN" dirty="0"/>
              <a:t>E </a:t>
            </a:r>
            <a:r>
              <a:rPr lang="vi-VN" dirty="0" err="1"/>
              <a:t>FavoriteObject</a:t>
            </a:r>
            <a:r>
              <a:rPr lang="vi-VN" dirty="0"/>
              <a:t> </a:t>
            </a:r>
          </a:p>
          <a:p>
            <a:pPr algn="ctr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0A19E20-300C-3984-9C5F-5205743C9BB6}"/>
              </a:ext>
            </a:extLst>
          </p:cNvPr>
          <p:cNvCxnSpPr/>
          <p:nvPr/>
        </p:nvCxnSpPr>
        <p:spPr>
          <a:xfrm flipV="1">
            <a:off x="310726" y="2684206"/>
            <a:ext cx="839648" cy="136148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A0D8D686-B75E-8108-A629-2E48D0496EC4}"/>
              </a:ext>
            </a:extLst>
          </p:cNvPr>
          <p:cNvSpPr/>
          <p:nvPr/>
        </p:nvSpPr>
        <p:spPr>
          <a:xfrm>
            <a:off x="1649245" y="593152"/>
            <a:ext cx="1576620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haredUs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20022F9-347D-9A2F-A5B3-6B666D5742F4}"/>
              </a:ext>
            </a:extLst>
          </p:cNvPr>
          <p:cNvSpPr/>
          <p:nvPr/>
        </p:nvSpPr>
        <p:spPr>
          <a:xfrm>
            <a:off x="1247440" y="4682020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Trash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22124FD-7847-0DFE-F9B7-7E13ED81FE8E}"/>
              </a:ext>
            </a:extLst>
          </p:cNvPr>
          <p:cNvCxnSpPr>
            <a:cxnSpLocks/>
          </p:cNvCxnSpPr>
          <p:nvPr/>
        </p:nvCxnSpPr>
        <p:spPr>
          <a:xfrm flipH="1" flipV="1">
            <a:off x="1592389" y="3126658"/>
            <a:ext cx="465762" cy="150134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1AD2F79-D4A8-B380-F506-50BC8BA88033}"/>
              </a:ext>
            </a:extLst>
          </p:cNvPr>
          <p:cNvCxnSpPr/>
          <p:nvPr/>
        </p:nvCxnSpPr>
        <p:spPr>
          <a:xfrm flipH="1">
            <a:off x="1327355" y="934705"/>
            <a:ext cx="873232" cy="126923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DDDDEBE2-82C6-C236-D608-EA8A6DF751C7}"/>
              </a:ext>
            </a:extLst>
          </p:cNvPr>
          <p:cNvSpPr/>
          <p:nvPr/>
        </p:nvSpPr>
        <p:spPr>
          <a:xfrm>
            <a:off x="8906729" y="1766837"/>
            <a:ext cx="1957916" cy="442045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UserViewSetting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14854B9-7B8A-4EFF-A16F-BFB69B1EE819}"/>
              </a:ext>
            </a:extLst>
          </p:cNvPr>
          <p:cNvSpPr/>
          <p:nvPr/>
        </p:nvSpPr>
        <p:spPr>
          <a:xfrm>
            <a:off x="310726" y="5208580"/>
            <a:ext cx="1622551" cy="379953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User Capacity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26C76100-F0B5-0A8C-4ED6-C951D2BDE3AE}"/>
              </a:ext>
            </a:extLst>
          </p:cNvPr>
          <p:cNvCxnSpPr/>
          <p:nvPr/>
        </p:nvCxnSpPr>
        <p:spPr>
          <a:xfrm flipV="1">
            <a:off x="446049" y="3364948"/>
            <a:ext cx="881306" cy="184363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287332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7AA25AE-9DD3-A8D2-6D9F-7E43C4DC2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D674D4-EB38-8DC1-5BDD-406795FF75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18" y="903249"/>
            <a:ext cx="11745964" cy="552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6294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31E732-4B9B-8501-B4BB-C26D3432C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driv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1DB79C-CC3F-1491-33BC-32D87EE533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107" y="970254"/>
            <a:ext cx="10761785" cy="56711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4D5DBE0-7676-37E2-EA47-8C08CA597672}"/>
              </a:ext>
            </a:extLst>
          </p:cNvPr>
          <p:cNvSpPr/>
          <p:nvPr/>
        </p:nvSpPr>
        <p:spPr>
          <a:xfrm>
            <a:off x="5362338" y="273508"/>
            <a:ext cx="2625969" cy="550984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lect File/folder where user login is owne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8A74189-62FF-3532-28E1-AE514D16C014}"/>
              </a:ext>
            </a:extLst>
          </p:cNvPr>
          <p:cNvCxnSpPr/>
          <p:nvPr/>
        </p:nvCxnSpPr>
        <p:spPr>
          <a:xfrm flipH="1">
            <a:off x="4970585" y="832338"/>
            <a:ext cx="562707" cy="199292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ame 12">
            <a:extLst>
              <a:ext uri="{FF2B5EF4-FFF2-40B4-BE49-F238E27FC236}">
                <a16:creationId xmlns:a16="http://schemas.microsoft.com/office/drawing/2014/main" id="{608A03F9-6FF8-16B7-5FAB-FE9EC4E34816}"/>
              </a:ext>
            </a:extLst>
          </p:cNvPr>
          <p:cNvSpPr/>
          <p:nvPr/>
        </p:nvSpPr>
        <p:spPr>
          <a:xfrm>
            <a:off x="2341756" y="2230245"/>
            <a:ext cx="9222059" cy="602864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4" name="Frame 13">
            <a:extLst>
              <a:ext uri="{FF2B5EF4-FFF2-40B4-BE49-F238E27FC236}">
                <a16:creationId xmlns:a16="http://schemas.microsoft.com/office/drawing/2014/main" id="{6AB874E8-265E-69B6-F587-2BE77CA8BF34}"/>
              </a:ext>
            </a:extLst>
          </p:cNvPr>
          <p:cNvSpPr/>
          <p:nvPr/>
        </p:nvSpPr>
        <p:spPr>
          <a:xfrm>
            <a:off x="2341756" y="3278459"/>
            <a:ext cx="9222059" cy="517057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61F9B9-AA35-08FA-E371-515FF6607D85}"/>
              </a:ext>
            </a:extLst>
          </p:cNvPr>
          <p:cNvSpPr/>
          <p:nvPr/>
        </p:nvSpPr>
        <p:spPr>
          <a:xfrm>
            <a:off x="6010507" y="1371600"/>
            <a:ext cx="1193181" cy="42314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fold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91C7E3-DDDD-E6EF-5956-43F0A01833D6}"/>
              </a:ext>
            </a:extLst>
          </p:cNvPr>
          <p:cNvSpPr/>
          <p:nvPr/>
        </p:nvSpPr>
        <p:spPr>
          <a:xfrm>
            <a:off x="8162121" y="1298506"/>
            <a:ext cx="929269" cy="42314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fil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F56EB60-852C-DA01-EB50-4EC675D7CD16}"/>
              </a:ext>
            </a:extLst>
          </p:cNvPr>
          <p:cNvCxnSpPr/>
          <p:nvPr/>
        </p:nvCxnSpPr>
        <p:spPr>
          <a:xfrm flipH="1">
            <a:off x="6095999" y="1828800"/>
            <a:ext cx="282499" cy="40144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4233713-053F-067D-6053-121560520D4D}"/>
              </a:ext>
            </a:extLst>
          </p:cNvPr>
          <p:cNvCxnSpPr/>
          <p:nvPr/>
        </p:nvCxnSpPr>
        <p:spPr>
          <a:xfrm flipH="1">
            <a:off x="7988307" y="1721652"/>
            <a:ext cx="341654" cy="147874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717019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D0496E-96D9-C8F6-C463-3E957282B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comment</a:t>
            </a:r>
            <a:r>
              <a:rPr lang="en-US" dirty="0"/>
              <a:t> file/folder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994B5F-166E-3BB4-4E42-D1EEBD2AE4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343" y="982064"/>
            <a:ext cx="10211314" cy="587593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BEE134-F2C8-A0CA-44F1-22B3594D82A2}"/>
              </a:ext>
            </a:extLst>
          </p:cNvPr>
          <p:cNvCxnSpPr/>
          <p:nvPr/>
        </p:nvCxnSpPr>
        <p:spPr>
          <a:xfrm>
            <a:off x="1081668" y="2531327"/>
            <a:ext cx="1148576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4ABBBE-DCFE-2977-BE2F-2C2638811144}"/>
              </a:ext>
            </a:extLst>
          </p:cNvPr>
          <p:cNvCxnSpPr/>
          <p:nvPr/>
        </p:nvCxnSpPr>
        <p:spPr>
          <a:xfrm>
            <a:off x="1159727" y="3429000"/>
            <a:ext cx="88027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EF501D2-AEEB-39F0-149B-DB3FA9DB9EA3}"/>
              </a:ext>
            </a:extLst>
          </p:cNvPr>
          <p:cNvCxnSpPr>
            <a:cxnSpLocks/>
          </p:cNvCxnSpPr>
          <p:nvPr/>
        </p:nvCxnSpPr>
        <p:spPr>
          <a:xfrm flipH="1">
            <a:off x="1449659" y="780585"/>
            <a:ext cx="223024" cy="129354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69370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9F1EDD-32B4-DED3-79B2-DB70B5E7D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449B85-42DF-4A0D-A8CA-1AA07F52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9505" y="1031474"/>
            <a:ext cx="6792990" cy="479505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ED92F943-DF67-E764-FB61-4B005E1E3DB3}"/>
                  </a:ext>
                </a:extLst>
              </p14:cNvPr>
              <p14:cNvContentPartPr/>
              <p14:nvPr/>
            </p14:nvContentPartPr>
            <p14:xfrm>
              <a:off x="-1072103" y="2821773"/>
              <a:ext cx="360" cy="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ED92F943-DF67-E764-FB61-4B005E1E3DB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078223" y="2815653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Frame 9">
            <a:extLst>
              <a:ext uri="{FF2B5EF4-FFF2-40B4-BE49-F238E27FC236}">
                <a16:creationId xmlns:a16="http://schemas.microsoft.com/office/drawing/2014/main" id="{41DB58E0-91C1-D534-444D-79057C0C357C}"/>
              </a:ext>
            </a:extLst>
          </p:cNvPr>
          <p:cNvSpPr/>
          <p:nvPr/>
        </p:nvSpPr>
        <p:spPr>
          <a:xfrm>
            <a:off x="4375355" y="2172929"/>
            <a:ext cx="3313471" cy="530942"/>
          </a:xfrm>
          <a:prstGeom prst="frame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Frame 10">
            <a:extLst>
              <a:ext uri="{FF2B5EF4-FFF2-40B4-BE49-F238E27FC236}">
                <a16:creationId xmlns:a16="http://schemas.microsoft.com/office/drawing/2014/main" id="{C0A718B5-F1B3-3855-26E0-602EDB023B4C}"/>
              </a:ext>
            </a:extLst>
          </p:cNvPr>
          <p:cNvSpPr/>
          <p:nvPr/>
        </p:nvSpPr>
        <p:spPr>
          <a:xfrm>
            <a:off x="4542503" y="4336026"/>
            <a:ext cx="3028336" cy="530942"/>
          </a:xfrm>
          <a:prstGeom prst="frame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76B6F7-466E-54FA-EE18-409DA4C02C08}"/>
              </a:ext>
            </a:extLst>
          </p:cNvPr>
          <p:cNvSpPr/>
          <p:nvPr/>
        </p:nvSpPr>
        <p:spPr>
          <a:xfrm>
            <a:off x="2040001" y="3055649"/>
            <a:ext cx="1622323" cy="462116"/>
          </a:xfrm>
          <a:prstGeom prst="rect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 err="1"/>
              <a:t>UserAvata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FE4099-99B4-EEC6-0198-8B261635AA08}"/>
              </a:ext>
            </a:extLst>
          </p:cNvPr>
          <p:cNvSpPr/>
          <p:nvPr/>
        </p:nvSpPr>
        <p:spPr>
          <a:xfrm>
            <a:off x="5220928" y="606388"/>
            <a:ext cx="1622323" cy="46211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Email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9E9687-7A4C-113E-6D04-8EEC903F0C7E}"/>
              </a:ext>
            </a:extLst>
          </p:cNvPr>
          <p:cNvSpPr/>
          <p:nvPr/>
        </p:nvSpPr>
        <p:spPr>
          <a:xfrm>
            <a:off x="7870172" y="2822133"/>
            <a:ext cx="1622323" cy="46211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 err="1"/>
              <a:t>UserNam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8F58FF-F70B-800C-3006-8CB6A3E34F38}"/>
              </a:ext>
            </a:extLst>
          </p:cNvPr>
          <p:cNvCxnSpPr/>
          <p:nvPr/>
        </p:nvCxnSpPr>
        <p:spPr>
          <a:xfrm>
            <a:off x="3662324" y="3284249"/>
            <a:ext cx="1627431" cy="14475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555831F-2DAA-BE58-F365-127B1661710C}"/>
              </a:ext>
            </a:extLst>
          </p:cNvPr>
          <p:cNvCxnSpPr>
            <a:stCxn id="16" idx="1"/>
          </p:cNvCxnSpPr>
          <p:nvPr/>
        </p:nvCxnSpPr>
        <p:spPr>
          <a:xfrm flipH="1">
            <a:off x="4994787" y="837446"/>
            <a:ext cx="226141" cy="133548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45C3381-4F98-6094-CEBD-D11C0FBD5E38}"/>
              </a:ext>
            </a:extLst>
          </p:cNvPr>
          <p:cNvCxnSpPr/>
          <p:nvPr/>
        </p:nvCxnSpPr>
        <p:spPr>
          <a:xfrm flipH="1">
            <a:off x="7295535" y="3055649"/>
            <a:ext cx="574637" cy="121155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080990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3EE307-C082-A4D1-35E2-B05C73795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90A111-932F-BAF6-14DA-33CE968BDA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843" y="1198683"/>
            <a:ext cx="10141975" cy="5070988"/>
          </a:xfrm>
          <a:prstGeom prst="rect">
            <a:avLst/>
          </a:prstGeom>
        </p:spPr>
      </p:pic>
      <p:sp>
        <p:nvSpPr>
          <p:cNvPr id="7" name="Frame 6">
            <a:extLst>
              <a:ext uri="{FF2B5EF4-FFF2-40B4-BE49-F238E27FC236}">
                <a16:creationId xmlns:a16="http://schemas.microsoft.com/office/drawing/2014/main" id="{46E49583-7245-E16A-3EFD-C5B60AC0E89C}"/>
              </a:ext>
            </a:extLst>
          </p:cNvPr>
          <p:cNvSpPr/>
          <p:nvPr/>
        </p:nvSpPr>
        <p:spPr>
          <a:xfrm>
            <a:off x="2563140" y="2406404"/>
            <a:ext cx="973393" cy="255638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02DCDBEB-3C70-4F38-94C9-B50EFE2BB8E5}"/>
              </a:ext>
            </a:extLst>
          </p:cNvPr>
          <p:cNvSpPr/>
          <p:nvPr/>
        </p:nvSpPr>
        <p:spPr>
          <a:xfrm>
            <a:off x="2541329" y="2913163"/>
            <a:ext cx="973393" cy="255638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89ACC0-391E-9A2B-4C6A-0B42F714765E}"/>
              </a:ext>
            </a:extLst>
          </p:cNvPr>
          <p:cNvSpPr/>
          <p:nvPr/>
        </p:nvSpPr>
        <p:spPr>
          <a:xfrm>
            <a:off x="346588" y="2389238"/>
            <a:ext cx="1681316" cy="41834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ettingkey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83EB01-1ECD-B396-2C19-F5ED780A990F}"/>
              </a:ext>
            </a:extLst>
          </p:cNvPr>
          <p:cNvSpPr/>
          <p:nvPr/>
        </p:nvSpPr>
        <p:spPr>
          <a:xfrm>
            <a:off x="294348" y="3278681"/>
            <a:ext cx="1681316" cy="418345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ettingvalu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4259152-523B-8717-E7FB-9C3911520B9F}"/>
              </a:ext>
            </a:extLst>
          </p:cNvPr>
          <p:cNvCxnSpPr/>
          <p:nvPr/>
        </p:nvCxnSpPr>
        <p:spPr>
          <a:xfrm flipV="1">
            <a:off x="2098257" y="2459933"/>
            <a:ext cx="364414" cy="27530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C3947D8-B1F5-1A47-3775-2948B912F81D}"/>
              </a:ext>
            </a:extLst>
          </p:cNvPr>
          <p:cNvCxnSpPr/>
          <p:nvPr/>
        </p:nvCxnSpPr>
        <p:spPr>
          <a:xfrm flipV="1">
            <a:off x="2098257" y="3040982"/>
            <a:ext cx="364414" cy="55651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FB9A4BA-65AA-D0C8-1920-8452A761B0E7}"/>
              </a:ext>
            </a:extLst>
          </p:cNvPr>
          <p:cNvCxnSpPr>
            <a:cxnSpLocks/>
          </p:cNvCxnSpPr>
          <p:nvPr/>
        </p:nvCxnSpPr>
        <p:spPr>
          <a:xfrm>
            <a:off x="2408903" y="1011116"/>
            <a:ext cx="0" cy="54154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F51530E-2DD9-CEAE-5D9E-3253945BD987}"/>
              </a:ext>
            </a:extLst>
          </p:cNvPr>
          <p:cNvCxnSpPr>
            <a:cxnSpLocks/>
          </p:cNvCxnSpPr>
          <p:nvPr/>
        </p:nvCxnSpPr>
        <p:spPr>
          <a:xfrm>
            <a:off x="2408903" y="1011116"/>
            <a:ext cx="4143986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35A4643-5BAD-4052-CA9B-8C96AE8FD7EF}"/>
              </a:ext>
            </a:extLst>
          </p:cNvPr>
          <p:cNvCxnSpPr>
            <a:cxnSpLocks/>
          </p:cNvCxnSpPr>
          <p:nvPr/>
        </p:nvCxnSpPr>
        <p:spPr>
          <a:xfrm>
            <a:off x="6552889" y="1011116"/>
            <a:ext cx="0" cy="5415494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52E85EF-E692-A03C-8564-EA277E4C9FC5}"/>
              </a:ext>
            </a:extLst>
          </p:cNvPr>
          <p:cNvCxnSpPr>
            <a:cxnSpLocks/>
          </p:cNvCxnSpPr>
          <p:nvPr/>
        </p:nvCxnSpPr>
        <p:spPr>
          <a:xfrm>
            <a:off x="2408903" y="6442588"/>
            <a:ext cx="413477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EE6933F-2E54-1CEE-008F-E4EFC8B79EA4}"/>
              </a:ext>
            </a:extLst>
          </p:cNvPr>
          <p:cNvSpPr/>
          <p:nvPr/>
        </p:nvSpPr>
        <p:spPr>
          <a:xfrm>
            <a:off x="7010399" y="432619"/>
            <a:ext cx="2637693" cy="460887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etting of login Account 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8DF44D4-026B-0070-90E8-6597A464A9DC}"/>
              </a:ext>
            </a:extLst>
          </p:cNvPr>
          <p:cNvCxnSpPr/>
          <p:nvPr/>
        </p:nvCxnSpPr>
        <p:spPr>
          <a:xfrm flipH="1">
            <a:off x="6676103" y="816077"/>
            <a:ext cx="334296" cy="109138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4258788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450</TotalTime>
  <Words>804</Words>
  <Application>Microsoft Office PowerPoint</Application>
  <PresentationFormat>Widescreen</PresentationFormat>
  <Paragraphs>195</Paragraphs>
  <Slides>29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3" baseType="lpstr">
      <vt:lpstr>Arial</vt:lpstr>
      <vt:lpstr>Calibri</vt:lpstr>
      <vt:lpstr>bbv template EN</vt:lpstr>
      <vt:lpstr>think-cell Slide</vt:lpstr>
      <vt:lpstr>PowerPoint Presentation</vt:lpstr>
      <vt:lpstr>Ypp 4</vt:lpstr>
      <vt:lpstr>Agenda</vt:lpstr>
      <vt:lpstr>First Screen </vt:lpstr>
      <vt:lpstr>Sample Data </vt:lpstr>
      <vt:lpstr>My drive</vt:lpstr>
      <vt:lpstr>Recomment file/folder</vt:lpstr>
      <vt:lpstr>Account</vt:lpstr>
      <vt:lpstr>Setting</vt:lpstr>
      <vt:lpstr>PowerPoint Presentation</vt:lpstr>
      <vt:lpstr>Setting Sample Data</vt:lpstr>
      <vt:lpstr>FavoriteObject</vt:lpstr>
      <vt:lpstr>Sample Data FavoriteObject</vt:lpstr>
      <vt:lpstr>Recent action</vt:lpstr>
      <vt:lpstr>Sample Data ActionRecent</vt:lpstr>
      <vt:lpstr>Share for login user </vt:lpstr>
      <vt:lpstr>Share</vt:lpstr>
      <vt:lpstr>PowerPoint Presentation</vt:lpstr>
      <vt:lpstr>Sample Data Share</vt:lpstr>
      <vt:lpstr>Trash </vt:lpstr>
      <vt:lpstr>PowerPoint Presentation</vt:lpstr>
      <vt:lpstr>Sample Data Trash</vt:lpstr>
      <vt:lpstr>UserCapacity</vt:lpstr>
      <vt:lpstr>UserProduct</vt:lpstr>
      <vt:lpstr>Table for Product Feature</vt:lpstr>
      <vt:lpstr>Sample Data Product</vt:lpstr>
      <vt:lpstr>Banned</vt:lpstr>
      <vt:lpstr>PowerPoint Presentation</vt:lpstr>
      <vt:lpstr>Sample Data Bann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Khiem Bui Duc</cp:lastModifiedBy>
  <cp:revision>9</cp:revision>
  <dcterms:created xsi:type="dcterms:W3CDTF">2025-07-10T03:51:23Z</dcterms:created>
  <dcterms:modified xsi:type="dcterms:W3CDTF">2025-08-23T10:36:51Z</dcterms:modified>
</cp:coreProperties>
</file>